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49"/>
  </p:notesMasterIdLst>
  <p:handoutMasterIdLst>
    <p:handoutMasterId r:id="rId50"/>
  </p:handoutMasterIdLst>
  <p:sldIdLst>
    <p:sldId id="289" r:id="rId15"/>
    <p:sldId id="345" r:id="rId16"/>
    <p:sldId id="346" r:id="rId17"/>
    <p:sldId id="347" r:id="rId18"/>
    <p:sldId id="348" r:id="rId19"/>
    <p:sldId id="340" r:id="rId20"/>
    <p:sldId id="344" r:id="rId21"/>
    <p:sldId id="302" r:id="rId22"/>
    <p:sldId id="303" r:id="rId23"/>
    <p:sldId id="304" r:id="rId24"/>
    <p:sldId id="322" r:id="rId25"/>
    <p:sldId id="319" r:id="rId26"/>
    <p:sldId id="321" r:id="rId27"/>
    <p:sldId id="333" r:id="rId28"/>
    <p:sldId id="324" r:id="rId29"/>
    <p:sldId id="318" r:id="rId30"/>
    <p:sldId id="325" r:id="rId31"/>
    <p:sldId id="349" r:id="rId32"/>
    <p:sldId id="351" r:id="rId33"/>
    <p:sldId id="353" r:id="rId34"/>
    <p:sldId id="350" r:id="rId35"/>
    <p:sldId id="352" r:id="rId36"/>
    <p:sldId id="354" r:id="rId37"/>
    <p:sldId id="296" r:id="rId38"/>
    <p:sldId id="332" r:id="rId39"/>
    <p:sldId id="331" r:id="rId40"/>
    <p:sldId id="338" r:id="rId41"/>
    <p:sldId id="307" r:id="rId42"/>
    <p:sldId id="314" r:id="rId43"/>
    <p:sldId id="315" r:id="rId44"/>
    <p:sldId id="312" r:id="rId45"/>
    <p:sldId id="313" r:id="rId46"/>
    <p:sldId id="341" r:id="rId47"/>
    <p:sldId id="356"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76E0EC-4971-6642-ADC4-96091ADB7CC4}" v="43" dt="2018-07-24T13:59:35.2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40" autoAdjust="0"/>
    <p:restoredTop sz="83642" autoAdjust="0"/>
  </p:normalViewPr>
  <p:slideViewPr>
    <p:cSldViewPr snapToGrid="0">
      <p:cViewPr varScale="1">
        <p:scale>
          <a:sx n="92" d="100"/>
          <a:sy n="92" d="100"/>
        </p:scale>
        <p:origin x="1192" y="19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handoutMaster" Target="handoutMasters/handoutMaster1.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Peterson" userId="2217128b-4eef-47c8-bf04-35d3127f0aa5" providerId="ADAL" clId="{A976E0EC-4971-6642-ADC4-96091ADB7CC4}"/>
    <pc:docChg chg="undo custSel addSld delSld modSld sldOrd">
      <pc:chgData name="David Peterson" userId="2217128b-4eef-47c8-bf04-35d3127f0aa5" providerId="ADAL" clId="{A976E0EC-4971-6642-ADC4-96091ADB7CC4}" dt="2018-07-24T13:59:35.299" v="38" actId="12788"/>
      <pc:docMkLst>
        <pc:docMk/>
      </pc:docMkLst>
      <pc:sldChg chg="del">
        <pc:chgData name="David Peterson" userId="2217128b-4eef-47c8-bf04-35d3127f0aa5" providerId="ADAL" clId="{A976E0EC-4971-6642-ADC4-96091ADB7CC4}" dt="2018-07-24T13:55:12.120" v="17" actId="2696"/>
        <pc:sldMkLst>
          <pc:docMk/>
          <pc:sldMk cId="745347765" sldId="302"/>
        </pc:sldMkLst>
      </pc:sldChg>
      <pc:sldChg chg="add modTransition">
        <pc:chgData name="David Peterson" userId="2217128b-4eef-47c8-bf04-35d3127f0aa5" providerId="ADAL" clId="{A976E0EC-4971-6642-ADC4-96091ADB7CC4}" dt="2018-07-24T13:55:18.430" v="19"/>
        <pc:sldMkLst>
          <pc:docMk/>
          <pc:sldMk cId="4283838558" sldId="302"/>
        </pc:sldMkLst>
      </pc:sldChg>
      <pc:sldChg chg="del">
        <pc:chgData name="David Peterson" userId="2217128b-4eef-47c8-bf04-35d3127f0aa5" providerId="ADAL" clId="{A976E0EC-4971-6642-ADC4-96091ADB7CC4}" dt="2018-07-24T13:55:12.114" v="15" actId="2696"/>
        <pc:sldMkLst>
          <pc:docMk/>
          <pc:sldMk cId="1201255012" sldId="303"/>
        </pc:sldMkLst>
      </pc:sldChg>
      <pc:sldChg chg="add ord modTransition">
        <pc:chgData name="David Peterson" userId="2217128b-4eef-47c8-bf04-35d3127f0aa5" providerId="ADAL" clId="{A976E0EC-4971-6642-ADC4-96091ADB7CC4}" dt="2018-07-24T13:55:46.086" v="20"/>
        <pc:sldMkLst>
          <pc:docMk/>
          <pc:sldMk cId="1926600395" sldId="303"/>
        </pc:sldMkLst>
      </pc:sldChg>
      <pc:sldChg chg="del">
        <pc:chgData name="David Peterson" userId="2217128b-4eef-47c8-bf04-35d3127f0aa5" providerId="ADAL" clId="{A976E0EC-4971-6642-ADC4-96091ADB7CC4}" dt="2018-07-24T13:55:12.118" v="16" actId="2696"/>
        <pc:sldMkLst>
          <pc:docMk/>
          <pc:sldMk cId="670491424" sldId="304"/>
        </pc:sldMkLst>
      </pc:sldChg>
      <pc:sldChg chg="add modTransition">
        <pc:chgData name="David Peterson" userId="2217128b-4eef-47c8-bf04-35d3127f0aa5" providerId="ADAL" clId="{A976E0EC-4971-6642-ADC4-96091ADB7CC4}" dt="2018-07-24T13:55:18.430" v="19"/>
        <pc:sldMkLst>
          <pc:docMk/>
          <pc:sldMk cId="3560824400" sldId="304"/>
        </pc:sldMkLst>
      </pc:sldChg>
      <pc:sldChg chg="add modTransition">
        <pc:chgData name="David Peterson" userId="2217128b-4eef-47c8-bf04-35d3127f0aa5" providerId="ADAL" clId="{A976E0EC-4971-6642-ADC4-96091ADB7CC4}" dt="2018-07-24T13:55:18.430" v="19"/>
        <pc:sldMkLst>
          <pc:docMk/>
          <pc:sldMk cId="26999072" sldId="318"/>
        </pc:sldMkLst>
      </pc:sldChg>
      <pc:sldChg chg="del">
        <pc:chgData name="David Peterson" userId="2217128b-4eef-47c8-bf04-35d3127f0aa5" providerId="ADAL" clId="{A976E0EC-4971-6642-ADC4-96091ADB7CC4}" dt="2018-07-24T13:55:12.099" v="9" actId="2696"/>
        <pc:sldMkLst>
          <pc:docMk/>
          <pc:sldMk cId="1036368596" sldId="318"/>
        </pc:sldMkLst>
      </pc:sldChg>
      <pc:sldChg chg="add modTransition">
        <pc:chgData name="David Peterson" userId="2217128b-4eef-47c8-bf04-35d3127f0aa5" providerId="ADAL" clId="{A976E0EC-4971-6642-ADC4-96091ADB7CC4}" dt="2018-07-24T13:55:18.430" v="19"/>
        <pc:sldMkLst>
          <pc:docMk/>
          <pc:sldMk cId="3091101426" sldId="319"/>
        </pc:sldMkLst>
      </pc:sldChg>
      <pc:sldChg chg="del">
        <pc:chgData name="David Peterson" userId="2217128b-4eef-47c8-bf04-35d3127f0aa5" providerId="ADAL" clId="{A976E0EC-4971-6642-ADC4-96091ADB7CC4}" dt="2018-07-24T13:55:12.108" v="13" actId="2696"/>
        <pc:sldMkLst>
          <pc:docMk/>
          <pc:sldMk cId="4224561281" sldId="319"/>
        </pc:sldMkLst>
      </pc:sldChg>
      <pc:sldChg chg="del">
        <pc:chgData name="David Peterson" userId="2217128b-4eef-47c8-bf04-35d3127f0aa5" providerId="ADAL" clId="{A976E0EC-4971-6642-ADC4-96091ADB7CC4}" dt="2018-07-24T13:55:12.105" v="12" actId="2696"/>
        <pc:sldMkLst>
          <pc:docMk/>
          <pc:sldMk cId="1683776004" sldId="321"/>
        </pc:sldMkLst>
      </pc:sldChg>
      <pc:sldChg chg="add modTransition">
        <pc:chgData name="David Peterson" userId="2217128b-4eef-47c8-bf04-35d3127f0aa5" providerId="ADAL" clId="{A976E0EC-4971-6642-ADC4-96091ADB7CC4}" dt="2018-07-24T13:55:18.430" v="19"/>
        <pc:sldMkLst>
          <pc:docMk/>
          <pc:sldMk cId="2684623528" sldId="321"/>
        </pc:sldMkLst>
      </pc:sldChg>
      <pc:sldChg chg="add modTransition">
        <pc:chgData name="David Peterson" userId="2217128b-4eef-47c8-bf04-35d3127f0aa5" providerId="ADAL" clId="{A976E0EC-4971-6642-ADC4-96091ADB7CC4}" dt="2018-07-24T13:55:18.430" v="19"/>
        <pc:sldMkLst>
          <pc:docMk/>
          <pc:sldMk cId="887812703" sldId="322"/>
        </pc:sldMkLst>
      </pc:sldChg>
      <pc:sldChg chg="del">
        <pc:chgData name="David Peterson" userId="2217128b-4eef-47c8-bf04-35d3127f0aa5" providerId="ADAL" clId="{A976E0EC-4971-6642-ADC4-96091ADB7CC4}" dt="2018-07-24T13:55:12.110" v="14" actId="2696"/>
        <pc:sldMkLst>
          <pc:docMk/>
          <pc:sldMk cId="3991602243" sldId="322"/>
        </pc:sldMkLst>
      </pc:sldChg>
      <pc:sldChg chg="modSp add">
        <pc:chgData name="David Peterson" userId="2217128b-4eef-47c8-bf04-35d3127f0aa5" providerId="ADAL" clId="{A976E0EC-4971-6642-ADC4-96091ADB7CC4}" dt="2018-07-24T13:56:24.533" v="22" actId="20577"/>
        <pc:sldMkLst>
          <pc:docMk/>
          <pc:sldMk cId="1571401564" sldId="324"/>
        </pc:sldMkLst>
        <pc:spChg chg="mod">
          <ac:chgData name="David Peterson" userId="2217128b-4eef-47c8-bf04-35d3127f0aa5" providerId="ADAL" clId="{A976E0EC-4971-6642-ADC4-96091ADB7CC4}" dt="2018-07-24T13:56:24.533" v="22" actId="20577"/>
          <ac:spMkLst>
            <pc:docMk/>
            <pc:sldMk cId="1571401564" sldId="324"/>
            <ac:spMk id="2" creationId="{00000000-0000-0000-0000-000000000000}"/>
          </ac:spMkLst>
        </pc:spChg>
      </pc:sldChg>
      <pc:sldChg chg="del">
        <pc:chgData name="David Peterson" userId="2217128b-4eef-47c8-bf04-35d3127f0aa5" providerId="ADAL" clId="{A976E0EC-4971-6642-ADC4-96091ADB7CC4}" dt="2018-07-24T13:55:12.101" v="10" actId="2696"/>
        <pc:sldMkLst>
          <pc:docMk/>
          <pc:sldMk cId="3979864142" sldId="324"/>
        </pc:sldMkLst>
      </pc:sldChg>
      <pc:sldChg chg="del">
        <pc:chgData name="David Peterson" userId="2217128b-4eef-47c8-bf04-35d3127f0aa5" providerId="ADAL" clId="{A976E0EC-4971-6642-ADC4-96091ADB7CC4}" dt="2018-07-24T13:55:12.097" v="8" actId="2696"/>
        <pc:sldMkLst>
          <pc:docMk/>
          <pc:sldMk cId="1356948175" sldId="325"/>
        </pc:sldMkLst>
      </pc:sldChg>
      <pc:sldChg chg="add">
        <pc:chgData name="David Peterson" userId="2217128b-4eef-47c8-bf04-35d3127f0aa5" providerId="ADAL" clId="{A976E0EC-4971-6642-ADC4-96091ADB7CC4}" dt="2018-07-24T13:55:18.430" v="19"/>
        <pc:sldMkLst>
          <pc:docMk/>
          <pc:sldMk cId="3122949092" sldId="325"/>
        </pc:sldMkLst>
      </pc:sldChg>
      <pc:sldChg chg="modSp">
        <pc:chgData name="David Peterson" userId="2217128b-4eef-47c8-bf04-35d3127f0aa5" providerId="ADAL" clId="{A976E0EC-4971-6642-ADC4-96091ADB7CC4}" dt="2018-07-24T13:59:35.299" v="38" actId="12788"/>
        <pc:sldMkLst>
          <pc:docMk/>
          <pc:sldMk cId="1258832337" sldId="331"/>
        </pc:sldMkLst>
        <pc:spChg chg="mod">
          <ac:chgData name="David Peterson" userId="2217128b-4eef-47c8-bf04-35d3127f0aa5" providerId="ADAL" clId="{A976E0EC-4971-6642-ADC4-96091ADB7CC4}" dt="2018-07-24T13:59:27.744" v="36" actId="20577"/>
          <ac:spMkLst>
            <pc:docMk/>
            <pc:sldMk cId="1258832337" sldId="331"/>
            <ac:spMk id="4" creationId="{00000000-0000-0000-0000-000000000000}"/>
          </ac:spMkLst>
        </pc:spChg>
        <pc:picChg chg="mod">
          <ac:chgData name="David Peterson" userId="2217128b-4eef-47c8-bf04-35d3127f0aa5" providerId="ADAL" clId="{A976E0EC-4971-6642-ADC4-96091ADB7CC4}" dt="2018-07-24T13:59:35.299" v="38" actId="12788"/>
          <ac:picMkLst>
            <pc:docMk/>
            <pc:sldMk cId="1258832337" sldId="331"/>
            <ac:picMk id="2" creationId="{96230937-1854-43D5-B14D-88A3E33E8C3C}"/>
          </ac:picMkLst>
        </pc:picChg>
      </pc:sldChg>
      <pc:sldChg chg="modSp">
        <pc:chgData name="David Peterson" userId="2217128b-4eef-47c8-bf04-35d3127f0aa5" providerId="ADAL" clId="{A976E0EC-4971-6642-ADC4-96091ADB7CC4}" dt="2018-07-24T13:58:23.344" v="30" actId="20577"/>
        <pc:sldMkLst>
          <pc:docMk/>
          <pc:sldMk cId="1024076682" sldId="332"/>
        </pc:sldMkLst>
        <pc:spChg chg="mod">
          <ac:chgData name="David Peterson" userId="2217128b-4eef-47c8-bf04-35d3127f0aa5" providerId="ADAL" clId="{A976E0EC-4971-6642-ADC4-96091ADB7CC4}" dt="2018-07-24T13:58:20.676" v="27" actId="20577"/>
          <ac:spMkLst>
            <pc:docMk/>
            <pc:sldMk cId="1024076682" sldId="332"/>
            <ac:spMk id="3" creationId="{00000000-0000-0000-0000-000000000000}"/>
          </ac:spMkLst>
        </pc:spChg>
        <pc:spChg chg="mod">
          <ac:chgData name="David Peterson" userId="2217128b-4eef-47c8-bf04-35d3127f0aa5" providerId="ADAL" clId="{A976E0EC-4971-6642-ADC4-96091ADB7CC4}" dt="2018-07-24T13:58:23.344" v="30" actId="20577"/>
          <ac:spMkLst>
            <pc:docMk/>
            <pc:sldMk cId="1024076682" sldId="332"/>
            <ac:spMk id="5" creationId="{C3A8645A-917C-498E-843D-76D62190A8D8}"/>
          </ac:spMkLst>
        </pc:spChg>
      </pc:sldChg>
      <pc:sldChg chg="del">
        <pc:chgData name="David Peterson" userId="2217128b-4eef-47c8-bf04-35d3127f0aa5" providerId="ADAL" clId="{A976E0EC-4971-6642-ADC4-96091ADB7CC4}" dt="2018-07-24T13:55:12.103" v="11" actId="2696"/>
        <pc:sldMkLst>
          <pc:docMk/>
          <pc:sldMk cId="3855284013" sldId="333"/>
        </pc:sldMkLst>
      </pc:sldChg>
      <pc:sldChg chg="add modTransition">
        <pc:chgData name="David Peterson" userId="2217128b-4eef-47c8-bf04-35d3127f0aa5" providerId="ADAL" clId="{A976E0EC-4971-6642-ADC4-96091ADB7CC4}" dt="2018-07-24T13:55:18.430" v="19"/>
        <pc:sldMkLst>
          <pc:docMk/>
          <pc:sldMk cId="4009360690" sldId="333"/>
        </pc:sldMkLst>
      </pc:sldChg>
      <pc:sldChg chg="modSp">
        <pc:chgData name="David Peterson" userId="2217128b-4eef-47c8-bf04-35d3127f0aa5" providerId="ADAL" clId="{A976E0EC-4971-6642-ADC4-96091ADB7CC4}" dt="2018-07-24T13:37:17.395" v="5" actId="20577"/>
        <pc:sldMkLst>
          <pc:docMk/>
          <pc:sldMk cId="917616241" sldId="340"/>
        </pc:sldMkLst>
        <pc:spChg chg="mod">
          <ac:chgData name="David Peterson" userId="2217128b-4eef-47c8-bf04-35d3127f0aa5" providerId="ADAL" clId="{A976E0EC-4971-6642-ADC4-96091ADB7CC4}" dt="2018-07-24T13:37:17.395" v="5" actId="20577"/>
          <ac:spMkLst>
            <pc:docMk/>
            <pc:sldMk cId="917616241" sldId="340"/>
            <ac:spMk id="35" creationId="{00000000-0000-0000-0000-000000000000}"/>
          </ac:spMkLst>
        </pc:spChg>
      </pc:sldChg>
      <pc:sldChg chg="add del">
        <pc:chgData name="David Peterson" userId="2217128b-4eef-47c8-bf04-35d3127f0aa5" providerId="ADAL" clId="{A976E0EC-4971-6642-ADC4-96091ADB7CC4}" dt="2018-07-24T13:29:09.251" v="2" actId="2696"/>
        <pc:sldMkLst>
          <pc:docMk/>
          <pc:sldMk cId="15222292" sldId="343"/>
        </pc:sldMkLst>
      </pc:sldChg>
      <pc:sldChg chg="del ord">
        <pc:chgData name="David Peterson" userId="2217128b-4eef-47c8-bf04-35d3127f0aa5" providerId="ADAL" clId="{A976E0EC-4971-6642-ADC4-96091ADB7CC4}" dt="2018-07-24T13:55:12.122" v="18" actId="2696"/>
        <pc:sldMkLst>
          <pc:docMk/>
          <pc:sldMk cId="1995472156" sldId="344"/>
        </pc:sldMkLst>
      </pc:sldChg>
      <pc:sldChg chg="add">
        <pc:chgData name="David Peterson" userId="2217128b-4eef-47c8-bf04-35d3127f0aa5" providerId="ADAL" clId="{A976E0EC-4971-6642-ADC4-96091ADB7CC4}" dt="2018-07-24T13:55:18.430" v="19"/>
        <pc:sldMkLst>
          <pc:docMk/>
          <pc:sldMk cId="2482935303" sldId="344"/>
        </pc:sldMkLst>
      </pc:sldChg>
      <pc:sldChg chg="ord">
        <pc:chgData name="David Peterson" userId="2217128b-4eef-47c8-bf04-35d3127f0aa5" providerId="ADAL" clId="{A976E0EC-4971-6642-ADC4-96091ADB7CC4}" dt="2018-07-24T13:58:02.424" v="26"/>
        <pc:sldMkLst>
          <pc:docMk/>
          <pc:sldMk cId="4242262435" sldId="350"/>
        </pc:sldMkLst>
      </pc:sldChg>
      <pc:sldChg chg="ord">
        <pc:chgData name="David Peterson" userId="2217128b-4eef-47c8-bf04-35d3127f0aa5" providerId="ADAL" clId="{A976E0EC-4971-6642-ADC4-96091ADB7CC4}" dt="2018-07-24T13:57:55.574" v="25"/>
        <pc:sldMkLst>
          <pc:docMk/>
          <pc:sldMk cId="831527634" sldId="351"/>
        </pc:sldMkLst>
      </pc:sldChg>
      <pc:sldChg chg="ord">
        <pc:chgData name="David Peterson" userId="2217128b-4eef-47c8-bf04-35d3127f0aa5" providerId="ADAL" clId="{A976E0EC-4971-6642-ADC4-96091ADB7CC4}" dt="2018-07-24T13:57:52.891" v="24"/>
        <pc:sldMkLst>
          <pc:docMk/>
          <pc:sldMk cId="572751881" sldId="353"/>
        </pc:sldMkLst>
      </pc:sldChg>
      <pc:sldChg chg="del">
        <pc:chgData name="David Peterson" userId="2217128b-4eef-47c8-bf04-35d3127f0aa5" providerId="ADAL" clId="{A976E0EC-4971-6642-ADC4-96091ADB7CC4}" dt="2018-07-24T13:29:11.352" v="3" actId="2696"/>
        <pc:sldMkLst>
          <pc:docMk/>
          <pc:sldMk cId="1016667235" sldId="355"/>
        </pc:sldMkLst>
      </pc:sldChg>
      <pc:sldMasterChg chg="delSldLayout">
        <pc:chgData name="David Peterson" userId="2217128b-4eef-47c8-bf04-35d3127f0aa5" providerId="ADAL" clId="{A976E0EC-4971-6642-ADC4-96091ADB7CC4}" dt="2018-07-24T13:29:11.353" v="4" actId="2696"/>
        <pc:sldMasterMkLst>
          <pc:docMk/>
          <pc:sldMasterMk cId="3118783959" sldId="2147483660"/>
        </pc:sldMasterMkLst>
        <pc:sldLayoutChg chg="del">
          <pc:chgData name="David Peterson" userId="2217128b-4eef-47c8-bf04-35d3127f0aa5" providerId="ADAL" clId="{A976E0EC-4971-6642-ADC4-96091ADB7CC4}" dt="2018-07-24T13:29:11.353" v="4" actId="2696"/>
          <pc:sldLayoutMkLst>
            <pc:docMk/>
            <pc:sldMasterMk cId="3118783959" sldId="2147483660"/>
            <pc:sldLayoutMk cId="115557994" sldId="214748391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7/24/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7/24/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7/24/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121804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37568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432199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31168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97261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351658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669406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7</a:t>
            </a:fld>
            <a:endParaRPr lang="en-US"/>
          </a:p>
        </p:txBody>
      </p:sp>
    </p:spTree>
    <p:extLst>
      <p:ext uri="{BB962C8B-B14F-4D97-AF65-F5344CB8AC3E}">
        <p14:creationId xmlns:p14="http://schemas.microsoft.com/office/powerpoint/2010/main" val="13270573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2</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4/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4/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7/24/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723724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21868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7/24/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3030784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7/24/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7/24/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7/24/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7/24/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4/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4/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24/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4877092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826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6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8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0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4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69"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theme" Target="../theme/theme11.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24/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7.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77.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7.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7.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7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1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29.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136.xml"/><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3.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177.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0824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887812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30911014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268462352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40093606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15714015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2699907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filtered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3122949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a:t>
            </a:r>
            <a:r>
              <a:rPr lang="en-US" dirty="0" err="1"/>
              <a:t>Web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err="1"/>
              <a:t>WebJobs</a:t>
            </a:r>
            <a:r>
              <a:rPr lang="en-US" sz="2800" dirty="0"/>
              <a:t>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497065"/>
          </a:xfrm>
        </p:spPr>
        <p:txBody>
          <a:bodyPr/>
          <a:lstStyle/>
          <a:p>
            <a:pPr marL="812690" lvl="1" indent="-571390"/>
            <a:r>
              <a:rPr lang="en-US" sz="2800" dirty="0"/>
              <a:t>Server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2482327" y="3494488"/>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1</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1022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6</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2482935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4283838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926600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1AB5B583-F0CB-48BC-A5EC-1321D80DA2B0"/>
    <ds:schemaRef ds:uri="http://purl.org/dc/terms/"/>
    <ds:schemaRef ds:uri="http://schemas.microsoft.com/office/2006/documentManagement/types"/>
    <ds:schemaRef ds:uri="http://purl.org/dc/elements/1.1/"/>
    <ds:schemaRef ds:uri="http://purl.org/dc/dcmitype/"/>
    <ds:schemaRef ds:uri="http://schemas.microsoft.com/office/2006/metadata/properties"/>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597</Words>
  <Application>Microsoft Macintosh PowerPoint</Application>
  <PresentationFormat>Widescreen</PresentationFormat>
  <Paragraphs>356</Paragraphs>
  <Slides>34</Slides>
  <Notes>33</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4</vt:i4>
      </vt:variant>
    </vt:vector>
  </HeadingPairs>
  <TitlesOfParts>
    <vt:vector size="62"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PowerPoint Presentation</vt:lpstr>
      <vt:lpstr>Cognitive Services</vt:lpstr>
      <vt:lpstr>PowerPoint Presentation</vt:lpstr>
      <vt:lpstr>Bot Services</vt:lpstr>
      <vt:lpstr>PowerPoint Presentation</vt:lpstr>
      <vt:lpstr>PowerPoint Presentation</vt:lpstr>
      <vt:lpstr>PowerPoint Presentation</vt:lpstr>
      <vt:lpstr>Service bus</vt:lpstr>
      <vt:lpstr>Service Bus Queue</vt:lpstr>
      <vt:lpstr>Service Bus Topic</vt:lpstr>
      <vt:lpstr>Event Hub</vt:lpstr>
      <vt:lpstr>Connectivity for Hybrid Applications</vt:lpstr>
      <vt:lpstr>Hybrid Connections Architecture</vt:lpstr>
      <vt:lpstr>Azure Web App VNET Integration</vt:lpstr>
      <vt:lpstr>Question: Your app needs a brokered messaging channel to an on-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ltered and moved into Blob Storage. Archival of raw ingress data is required for a week. Choose an implementation below. </vt:lpstr>
      <vt:lpstr>PowerPoint Presentation</vt:lpstr>
      <vt:lpstr>IoT Hub</vt:lpstr>
      <vt:lpstr>IoT Edge</vt:lpstr>
      <vt:lpstr>Stream Analytics</vt:lpstr>
      <vt:lpstr>Time Series Insights</vt:lpstr>
      <vt:lpstr>PowerPoint Presentation</vt:lpstr>
      <vt:lpstr>PowerPoint Presentation</vt:lpstr>
      <vt:lpstr>Azure Web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Advanced Analytics</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7-24T13:5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